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012-4C4A-8E6E-160E0C59655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012-4C4A-8E6E-160E0C59655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012-4C4A-8E6E-160E0C59655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012-4C4A-8E6E-160E0C59655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012-4C4A-8E6E-160E0C59655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012-4C4A-8E6E-160E0C596559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012-4C4A-8E6E-160E0C59655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012-4C4A-8E6E-160E0C596559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012-4C4A-8E6E-160E0C596559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012-4C4A-8E6E-160E0C59655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C00-4913-8160-191A5CCDC7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C00-4913-8160-191A5CCDC7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C00-4913-8160-191A5CCDC7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C00-4913-8160-191A5CCDC7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C00-4913-8160-191A5CCDC7B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C00-4913-8160-191A5CCDC7B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C00-4913-8160-191A5CCDC7B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C00-4913-8160-191A5CCDC7B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C00-4913-8160-191A5CCDC7B2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C00-4913-8160-191A5CCDC7B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6E5-4756-93F8-511C98615ED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6E5-4756-93F8-511C98615ED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6E5-4756-93F8-511C98615ED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6E5-4756-93F8-511C98615ED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6E5-4756-93F8-511C98615ED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6E5-4756-93F8-511C98615ED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6E5-4756-93F8-511C98615ED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96E5-4756-93F8-511C98615ED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6E5-4756-93F8-511C98615ED7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96E5-4756-93F8-511C98615ED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D8E-435A-AA6C-1856A0B81F2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D8E-435A-AA6C-1856A0B81F2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D8E-435A-AA6C-1856A0B81F2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D8E-435A-AA6C-1856A0B81F2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D8E-435A-AA6C-1856A0B81F2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D8E-435A-AA6C-1856A0B81F2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D8E-435A-AA6C-1856A0B81F2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D8E-435A-AA6C-1856A0B81F2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D8E-435A-AA6C-1856A0B81F21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  <c:pt idx="8">
                  <c:v>Tex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</c:v>
                </c:pt>
                <c:pt idx="1">
                  <c:v>30</c:v>
                </c:pt>
                <c:pt idx="2">
                  <c:v>55</c:v>
                </c:pt>
                <c:pt idx="3">
                  <c:v>40</c:v>
                </c:pt>
                <c:pt idx="4">
                  <c:v>70</c:v>
                </c:pt>
                <c:pt idx="5">
                  <c:v>2</c:v>
                </c:pt>
                <c:pt idx="6">
                  <c:v>25</c:v>
                </c:pt>
                <c:pt idx="7">
                  <c:v>80</c:v>
                </c:pt>
                <c:pt idx="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D8E-435A-AA6C-1856A0B81F2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716886672"/>
        <c:axId val="716894216"/>
      </c:barChart>
      <c:catAx>
        <c:axId val="716886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94216"/>
        <c:crosses val="autoZero"/>
        <c:auto val="1"/>
        <c:lblAlgn val="ctr"/>
        <c:lblOffset val="100"/>
        <c:noMultiLvlLbl val="0"/>
      </c:catAx>
      <c:valAx>
        <c:axId val="71689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1688667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3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61294-3228-7328-B6F0-3CB0E02ED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3DF6BB6-95E6-DFB1-1C11-A05CF77FE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DF6BB6-95E6-DFB1-1C11-A05CF77FE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BDE0C8-C3E3-5EB8-2B07-8E342E8D6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54AE426-559F-6155-036D-79EDCC7D9A0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760BF3-6018-B9EC-D80D-64ADF53735B4}"/>
              </a:ext>
            </a:extLst>
          </p:cNvPr>
          <p:cNvSpPr txBox="1">
            <a:spLocks/>
          </p:cNvSpPr>
          <p:nvPr/>
        </p:nvSpPr>
        <p:spPr>
          <a:xfrm>
            <a:off x="882319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7B6503-57F3-CDC1-6D75-1B87C081CD1A}"/>
              </a:ext>
            </a:extLst>
          </p:cNvPr>
          <p:cNvSpPr txBox="1">
            <a:spLocks/>
          </p:cNvSpPr>
          <p:nvPr/>
        </p:nvSpPr>
        <p:spPr>
          <a:xfrm>
            <a:off x="882319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C1F8B3-0C71-8D4D-AE32-5048E0800DC5}"/>
              </a:ext>
            </a:extLst>
          </p:cNvPr>
          <p:cNvSpPr txBox="1">
            <a:spLocks/>
          </p:cNvSpPr>
          <p:nvPr/>
        </p:nvSpPr>
        <p:spPr>
          <a:xfrm>
            <a:off x="3607367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2B012F-ABF4-AF0F-677C-45DC4E715341}"/>
              </a:ext>
            </a:extLst>
          </p:cNvPr>
          <p:cNvSpPr txBox="1">
            <a:spLocks/>
          </p:cNvSpPr>
          <p:nvPr/>
        </p:nvSpPr>
        <p:spPr>
          <a:xfrm>
            <a:off x="3607367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31A329-8A37-EAF9-85F7-3C61E51D72C4}"/>
              </a:ext>
            </a:extLst>
          </p:cNvPr>
          <p:cNvSpPr txBox="1">
            <a:spLocks/>
          </p:cNvSpPr>
          <p:nvPr/>
        </p:nvSpPr>
        <p:spPr>
          <a:xfrm>
            <a:off x="6332411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3DFD5B-7340-66AA-A00C-1392F838A17B}"/>
              </a:ext>
            </a:extLst>
          </p:cNvPr>
          <p:cNvSpPr txBox="1">
            <a:spLocks/>
          </p:cNvSpPr>
          <p:nvPr/>
        </p:nvSpPr>
        <p:spPr>
          <a:xfrm>
            <a:off x="6332411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4578789-830F-3824-50C7-E3ADEAF9812E}"/>
              </a:ext>
            </a:extLst>
          </p:cNvPr>
          <p:cNvSpPr txBox="1">
            <a:spLocks/>
          </p:cNvSpPr>
          <p:nvPr/>
        </p:nvSpPr>
        <p:spPr>
          <a:xfrm>
            <a:off x="9057455" y="1332707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b="1" dirty="0"/>
              <a:t>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3D2EA4-F57A-A739-555B-06C7047A84B1}"/>
              </a:ext>
            </a:extLst>
          </p:cNvPr>
          <p:cNvSpPr txBox="1">
            <a:spLocks/>
          </p:cNvSpPr>
          <p:nvPr/>
        </p:nvSpPr>
        <p:spPr>
          <a:xfrm>
            <a:off x="9057455" y="1614263"/>
            <a:ext cx="2407636" cy="2263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1" dirty="0"/>
              <a:t>Insert Text Here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F892689-7782-141C-68DF-3561F95495D8}"/>
              </a:ext>
            </a:extLst>
          </p:cNvPr>
          <p:cNvGraphicFramePr/>
          <p:nvPr/>
        </p:nvGraphicFramePr>
        <p:xfrm>
          <a:off x="837332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80E60720-0EA8-1059-5F2D-403FF57FD00C}"/>
              </a:ext>
            </a:extLst>
          </p:cNvPr>
          <p:cNvGraphicFramePr/>
          <p:nvPr/>
        </p:nvGraphicFramePr>
        <p:xfrm>
          <a:off x="3607367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9DC4BAE-085A-C9D0-21D2-42E21BFA904E}"/>
              </a:ext>
            </a:extLst>
          </p:cNvPr>
          <p:cNvGraphicFramePr/>
          <p:nvPr/>
        </p:nvGraphicFramePr>
        <p:xfrm>
          <a:off x="6332412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8EA72CB0-151D-BB2C-2EB5-130A1B1CBAD7}"/>
              </a:ext>
            </a:extLst>
          </p:cNvPr>
          <p:cNvGraphicFramePr/>
          <p:nvPr/>
        </p:nvGraphicFramePr>
        <p:xfrm>
          <a:off x="9057456" y="1942634"/>
          <a:ext cx="2447262" cy="37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A385F6-18D5-BF6D-1A45-1466F29BB51C}"/>
              </a:ext>
            </a:extLst>
          </p:cNvPr>
          <p:cNvCxnSpPr/>
          <p:nvPr/>
        </p:nvCxnSpPr>
        <p:spPr>
          <a:xfrm>
            <a:off x="837332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B0BEB81-FEAF-6EC1-C47B-CD3648C24F7B}"/>
              </a:ext>
            </a:extLst>
          </p:cNvPr>
          <p:cNvCxnSpPr/>
          <p:nvPr/>
        </p:nvCxnSpPr>
        <p:spPr>
          <a:xfrm>
            <a:off x="3607367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FFF4A67-148A-BE52-ADBA-1BDB89C584DA}"/>
              </a:ext>
            </a:extLst>
          </p:cNvPr>
          <p:cNvCxnSpPr/>
          <p:nvPr/>
        </p:nvCxnSpPr>
        <p:spPr>
          <a:xfrm>
            <a:off x="6332411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D8F736D-1885-DD26-52CD-0CA03ED87963}"/>
              </a:ext>
            </a:extLst>
          </p:cNvPr>
          <p:cNvCxnSpPr/>
          <p:nvPr/>
        </p:nvCxnSpPr>
        <p:spPr>
          <a:xfrm>
            <a:off x="9057455" y="1942634"/>
            <a:ext cx="2125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7893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2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42</cp:revision>
  <dcterms:created xsi:type="dcterms:W3CDTF">2021-03-31T02:49:57Z</dcterms:created>
  <dcterms:modified xsi:type="dcterms:W3CDTF">2025-10-15T03:46:11Z</dcterms:modified>
  <cp:category/>
</cp:coreProperties>
</file>